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D$2:$D$273</c:f>
              <c:numCache>
                <c:formatCode>#,##0</c:formatCode>
                <c:ptCount val="272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4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10</c:v>
                </c:pt>
                <c:pt idx="260">
                  <c:v>102</c:v>
                </c:pt>
                <c:pt idx="261">
                  <c:v>93</c:v>
                </c:pt>
                <c:pt idx="262">
                  <c:v>78</c:v>
                </c:pt>
                <c:pt idx="263">
                  <c:v>72</c:v>
                </c:pt>
                <c:pt idx="264">
                  <c:v>69</c:v>
                </c:pt>
                <c:pt idx="265">
                  <c:v>66</c:v>
                </c:pt>
                <c:pt idx="266">
                  <c:v>62</c:v>
                </c:pt>
                <c:pt idx="267">
                  <c:v>62</c:v>
                </c:pt>
                <c:pt idx="268">
                  <c:v>56</c:v>
                </c:pt>
                <c:pt idx="269">
                  <c:v>51</c:v>
                </c:pt>
                <c:pt idx="270">
                  <c:v>44</c:v>
                </c:pt>
                <c:pt idx="27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B$2:$B$273</c:f>
              <c:numCache>
                <c:formatCode>#,##0</c:formatCode>
                <c:ptCount val="272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</c:v>
                </c:pt>
                <c:pt idx="206">
                  <c:v>325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C$2:$C$273</c:f>
              <c:numCache>
                <c:formatCode>#,##0</c:formatCode>
                <c:ptCount val="27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D$2:$D$273</c:f>
              <c:numCache>
                <c:formatCode>#,##0</c:formatCode>
                <c:ptCount val="272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90</c:v>
                </c:pt>
                <c:pt idx="70">
                  <c:v>3195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4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8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4</c:v>
                </c:pt>
                <c:pt idx="219">
                  <c:v>2686</c:v>
                </c:pt>
                <c:pt idx="220">
                  <c:v>2416</c:v>
                </c:pt>
                <c:pt idx="221">
                  <c:v>2320</c:v>
                </c:pt>
                <c:pt idx="222">
                  <c:v>2335</c:v>
                </c:pt>
                <c:pt idx="223">
                  <c:v>2330</c:v>
                </c:pt>
                <c:pt idx="224">
                  <c:v>2234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0</c:v>
                </c:pt>
                <c:pt idx="243">
                  <c:v>1122</c:v>
                </c:pt>
                <c:pt idx="244">
                  <c:v>1117</c:v>
                </c:pt>
                <c:pt idx="245">
                  <c:v>1052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3</c:v>
                </c:pt>
                <c:pt idx="251">
                  <c:v>774</c:v>
                </c:pt>
                <c:pt idx="252">
                  <c:v>724</c:v>
                </c:pt>
                <c:pt idx="253">
                  <c:v>653</c:v>
                </c:pt>
                <c:pt idx="254">
                  <c:v>633</c:v>
                </c:pt>
                <c:pt idx="255">
                  <c:v>612</c:v>
                </c:pt>
                <c:pt idx="256">
                  <c:v>549</c:v>
                </c:pt>
                <c:pt idx="257">
                  <c:v>546</c:v>
                </c:pt>
                <c:pt idx="258">
                  <c:v>519</c:v>
                </c:pt>
                <c:pt idx="259">
                  <c:v>467</c:v>
                </c:pt>
                <c:pt idx="260">
                  <c:v>430</c:v>
                </c:pt>
                <c:pt idx="261">
                  <c:v>402</c:v>
                </c:pt>
                <c:pt idx="262">
                  <c:v>392</c:v>
                </c:pt>
                <c:pt idx="263">
                  <c:v>371</c:v>
                </c:pt>
                <c:pt idx="264">
                  <c:v>362</c:v>
                </c:pt>
                <c:pt idx="265">
                  <c:v>319</c:v>
                </c:pt>
                <c:pt idx="266">
                  <c:v>309</c:v>
                </c:pt>
                <c:pt idx="267">
                  <c:v>293</c:v>
                </c:pt>
                <c:pt idx="268">
                  <c:v>263</c:v>
                </c:pt>
                <c:pt idx="269">
                  <c:v>228</c:v>
                </c:pt>
                <c:pt idx="270">
                  <c:v>202</c:v>
                </c:pt>
                <c:pt idx="271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B$2:$B$273</c:f>
              <c:numCache>
                <c:formatCode>#,##0</c:formatCode>
                <c:ptCount val="272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454</c:v>
                </c:pt>
                <c:pt idx="206">
                  <c:v>4946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C$2:$C$273</c:f>
              <c:numCache>
                <c:formatCode>#,##0</c:formatCode>
                <c:ptCount val="27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D$2:$D$273</c:f>
              <c:numCache>
                <c:formatCode>#,##0</c:formatCode>
                <c:ptCount val="27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2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B$2:$B$273</c:f>
              <c:numCache>
                <c:formatCode>#,##0</c:formatCode>
                <c:ptCount val="272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>
                  <c:v>3</c:v>
                </c:pt>
                <c:pt idx="206">
                  <c:v>22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C$2:$C$273</c:f>
              <c:numCache>
                <c:formatCode>#,##0</c:formatCode>
                <c:ptCount val="27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D$2:$D$273</c:f>
              <c:numCache>
                <c:formatCode>#,##0</c:formatCode>
                <c:ptCount val="272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6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5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22</c:v>
                </c:pt>
                <c:pt idx="251">
                  <c:v>426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9</c:v>
                </c:pt>
                <c:pt idx="260">
                  <c:v>250</c:v>
                </c:pt>
                <c:pt idx="261">
                  <c:v>219</c:v>
                </c:pt>
                <c:pt idx="262">
                  <c:v>193</c:v>
                </c:pt>
                <c:pt idx="263">
                  <c:v>189</c:v>
                </c:pt>
                <c:pt idx="264">
                  <c:v>188</c:v>
                </c:pt>
                <c:pt idx="265">
                  <c:v>183</c:v>
                </c:pt>
                <c:pt idx="266">
                  <c:v>162</c:v>
                </c:pt>
                <c:pt idx="267">
                  <c:v>155</c:v>
                </c:pt>
                <c:pt idx="268">
                  <c:v>144</c:v>
                </c:pt>
                <c:pt idx="269">
                  <c:v>121</c:v>
                </c:pt>
                <c:pt idx="270">
                  <c:v>111</c:v>
                </c:pt>
                <c:pt idx="271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B$2:$B$273</c:f>
              <c:numCache>
                <c:formatCode>#,##0</c:formatCode>
                <c:ptCount val="272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84</c:v>
                </c:pt>
                <c:pt idx="206">
                  <c:v>958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3</c:f>
              <c:numCache>
                <c:formatCode>m/d/yyyy</c:formatCode>
                <c:ptCount val="27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</c:numCache>
            </c:numRef>
          </c:cat>
          <c:val>
            <c:numRef>
              <c:f>Sheet1!$C$2:$C$273</c:f>
              <c:numCache>
                <c:formatCode>#,##0</c:formatCode>
                <c:ptCount val="27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</a:t>
            </a:r>
            <a:r>
              <a:rPr lang="cs-CZ" sz="3600" b="1" i="1"/>
              <a:t>aktualizace 31.05</a:t>
            </a:r>
            <a:r>
              <a:rPr lang="cs-CZ" sz="3600" b="1" i="1" dirty="0"/>
              <a:t>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9969247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44532653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90369471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36497649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47924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684981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54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688</cp:revision>
  <dcterms:created xsi:type="dcterms:W3CDTF">2020-08-08T14:25:07Z</dcterms:created>
  <dcterms:modified xsi:type="dcterms:W3CDTF">2021-05-31T03:11:15Z</dcterms:modified>
</cp:coreProperties>
</file>